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theme/theme42.xml" ContentType="application/vnd.openxmlformats-officedocument.theme+xml"/>
  <Override PartName="/ppt/slideLayouts/slideLayout311.xml" ContentType="application/vnd.openxmlformats-officedocument.presentationml.slideLayout+xml"/>
  <Override PartName="/ppt/theme/theme43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4074" r:id="rId42"/>
    <p:sldMasterId id="2147484081" r:id="rId43"/>
    <p:sldMasterId id="2147488703" r:id="rId44"/>
  </p:sldMasterIdLst>
  <p:notesMasterIdLst>
    <p:notesMasterId r:id="rId63"/>
  </p:notesMasterIdLst>
  <p:handoutMasterIdLst>
    <p:handoutMasterId r:id="rId64"/>
  </p:handoutMasterIdLst>
  <p:sldIdLst>
    <p:sldId id="480" r:id="rId45"/>
    <p:sldId id="491" r:id="rId46"/>
    <p:sldId id="492" r:id="rId47"/>
    <p:sldId id="485" r:id="rId48"/>
    <p:sldId id="486" r:id="rId49"/>
    <p:sldId id="487" r:id="rId50"/>
    <p:sldId id="493" r:id="rId51"/>
    <p:sldId id="494" r:id="rId52"/>
    <p:sldId id="495" r:id="rId53"/>
    <p:sldId id="496" r:id="rId54"/>
    <p:sldId id="488" r:id="rId55"/>
    <p:sldId id="489" r:id="rId56"/>
    <p:sldId id="504" r:id="rId57"/>
    <p:sldId id="505" r:id="rId58"/>
    <p:sldId id="506" r:id="rId59"/>
    <p:sldId id="507" r:id="rId60"/>
    <p:sldId id="508" r:id="rId61"/>
    <p:sldId id="490" r:id="rId62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5" autoAdjust="0"/>
    <p:restoredTop sz="94668" autoAdjust="0"/>
  </p:normalViewPr>
  <p:slideViewPr>
    <p:cSldViewPr>
      <p:cViewPr varScale="1">
        <p:scale>
          <a:sx n="81" d="100"/>
          <a:sy n="81" d="100"/>
        </p:scale>
        <p:origin x="108" y="5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slide" Target="slides/slide14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17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slide" Target="slides/slide12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slide" Target="slides/slide15.xml"/><Relationship Id="rId67" Type="http://schemas.openxmlformats.org/officeDocument/2006/relationships/viewProps" Target="viewProp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slide" Target="slides/slide13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slide" Target="slides/slide16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6.xml"/><Relationship Id="rId55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7.03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7.03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2.xml"/><Relationship Id="rId4" Type="http://schemas.openxmlformats.org/officeDocument/2006/relationships/image" Target="../media/image44.pn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7.png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6229848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590485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9290993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797646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55595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7884450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10396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748505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178345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2627314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66915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2" Type="http://schemas.openxmlformats.org/officeDocument/2006/relationships/theme" Target="../theme/theme42.xml"/><Relationship Id="rId1" Type="http://schemas.openxmlformats.org/officeDocument/2006/relationships/slideLayout" Target="../slideLayouts/slideLayout310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11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556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04" r:id="rId1"/>
    <p:sldLayoutId id="2147488705" r:id="rId2"/>
    <p:sldLayoutId id="2147488706" r:id="rId3"/>
    <p:sldLayoutId id="2147488707" r:id="rId4"/>
    <p:sldLayoutId id="2147488708" r:id="rId5"/>
    <p:sldLayoutId id="2147488709" r:id="rId6"/>
    <p:sldLayoutId id="2147488710" r:id="rId7"/>
    <p:sldLayoutId id="2147488711" r:id="rId8"/>
    <p:sldLayoutId id="2147488712" r:id="rId9"/>
    <p:sldLayoutId id="2147488713" r:id="rId10"/>
    <p:sldLayoutId id="214748871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1.xml"/><Relationship Id="rId6" Type="http://schemas.openxmlformats.org/officeDocument/2006/relationships/image" Target="../media/image54.png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2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3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4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5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6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17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2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3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4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5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6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7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8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3.xml"/><Relationship Id="rId1" Type="http://schemas.openxmlformats.org/officeDocument/2006/relationships/tags" Target="../tags/tag9.xml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Kamień milowy 2018</a:t>
            </a:r>
          </a:p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Bonusy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pl-PL" dirty="0" smtClean="0">
                <a:solidFill>
                  <a:schemeClr val="bg1"/>
                </a:solidFill>
              </a:rPr>
              <a:t>Uniejów, 28-29 marca 2019 roku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1371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BRAK SPEŁNIENIA CZWARTEGO WARUNKU – WYROK WSA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16" y="882891"/>
            <a:ext cx="6460981" cy="4706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696672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BONUSY W WOJEWÓDZTWIE ŁÓDZKIM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l-PL" sz="2000" dirty="0" smtClean="0">
              <a:solidFill>
                <a:srgbClr val="000000"/>
              </a:solidFill>
            </a:endParaRPr>
          </a:p>
          <a:p>
            <a:pPr algn="ctr"/>
            <a:r>
              <a:rPr lang="pl-PL" sz="2000" dirty="0">
                <a:solidFill>
                  <a:srgbClr val="000000"/>
                </a:solidFill>
              </a:rPr>
              <a:t>Lokalna Grupa Działania </a:t>
            </a:r>
            <a:r>
              <a:rPr lang="pl-PL" sz="2000" dirty="0" smtClean="0">
                <a:solidFill>
                  <a:srgbClr val="000000"/>
                </a:solidFill>
              </a:rPr>
              <a:t>„Kraina </a:t>
            </a:r>
            <a:r>
              <a:rPr lang="pl-PL" sz="2000" dirty="0">
                <a:solidFill>
                  <a:srgbClr val="000000"/>
                </a:solidFill>
              </a:rPr>
              <a:t>Wielkiego Łuku Warty"</a:t>
            </a:r>
            <a:endParaRPr lang="pl-PL" sz="2000" dirty="0" smtClean="0">
              <a:solidFill>
                <a:srgbClr val="000000"/>
              </a:solidFill>
            </a:endParaRP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1 </a:t>
            </a:r>
            <a:r>
              <a:rPr lang="pl-PL" sz="2800" b="1" dirty="0" smtClean="0">
                <a:solidFill>
                  <a:srgbClr val="000000"/>
                </a:solidFill>
              </a:rPr>
              <a:t>380 </a:t>
            </a:r>
            <a:r>
              <a:rPr lang="pl-PL" sz="2800" b="1" dirty="0" smtClean="0">
                <a:solidFill>
                  <a:srgbClr val="000000"/>
                </a:solidFill>
              </a:rPr>
              <a:t>000 złotych</a:t>
            </a:r>
          </a:p>
          <a:p>
            <a:pPr algn="ctr"/>
            <a:endParaRPr lang="pl-PL" sz="2000" b="1" dirty="0">
              <a:solidFill>
                <a:srgbClr val="000000"/>
              </a:solidFill>
            </a:endParaRPr>
          </a:p>
          <a:p>
            <a:pPr algn="ctr"/>
            <a:r>
              <a:rPr lang="pl-PL" sz="2000" dirty="0">
                <a:solidFill>
                  <a:srgbClr val="000000"/>
                </a:solidFill>
              </a:rPr>
              <a:t>Lokalna Grupa Działania </a:t>
            </a:r>
            <a:r>
              <a:rPr lang="pl-PL" sz="2000" dirty="0" smtClean="0">
                <a:solidFill>
                  <a:srgbClr val="000000"/>
                </a:solidFill>
              </a:rPr>
              <a:t>„Dolina </a:t>
            </a:r>
            <a:r>
              <a:rPr lang="pl-PL" sz="2000" dirty="0">
                <a:solidFill>
                  <a:srgbClr val="000000"/>
                </a:solidFill>
              </a:rPr>
              <a:t>rzeki </a:t>
            </a:r>
            <a:r>
              <a:rPr lang="pl-PL" sz="2000" dirty="0" smtClean="0">
                <a:solidFill>
                  <a:srgbClr val="000000"/>
                </a:solidFill>
              </a:rPr>
              <a:t>Grabi”</a:t>
            </a: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1 </a:t>
            </a:r>
            <a:r>
              <a:rPr lang="pl-PL" sz="2800" b="1" dirty="0" smtClean="0">
                <a:solidFill>
                  <a:srgbClr val="000000"/>
                </a:solidFill>
              </a:rPr>
              <a:t>040 </a:t>
            </a:r>
            <a:r>
              <a:rPr lang="pl-PL" sz="2800" b="1" dirty="0" smtClean="0">
                <a:solidFill>
                  <a:srgbClr val="000000"/>
                </a:solidFill>
              </a:rPr>
              <a:t>000 złotych</a:t>
            </a:r>
          </a:p>
          <a:p>
            <a:pPr algn="ctr"/>
            <a:endParaRPr lang="pl-PL" sz="2000" b="1" dirty="0">
              <a:solidFill>
                <a:srgbClr val="000000"/>
              </a:solidFill>
            </a:endParaRPr>
          </a:p>
          <a:p>
            <a:pPr algn="ctr"/>
            <a:r>
              <a:rPr lang="pl-PL" sz="2000" dirty="0" smtClean="0">
                <a:solidFill>
                  <a:srgbClr val="000000"/>
                </a:solidFill>
              </a:rPr>
              <a:t>Lokalna Grupa Działania „</a:t>
            </a:r>
            <a:r>
              <a:rPr lang="pl-PL" sz="2000" dirty="0">
                <a:solidFill>
                  <a:srgbClr val="000000"/>
                </a:solidFill>
              </a:rPr>
              <a:t>PRYM</a:t>
            </a:r>
            <a:r>
              <a:rPr lang="pl-PL" sz="2000" dirty="0" smtClean="0">
                <a:solidFill>
                  <a:srgbClr val="000000"/>
                </a:solidFill>
              </a:rPr>
              <a:t>”</a:t>
            </a: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990 </a:t>
            </a:r>
            <a:r>
              <a:rPr lang="pl-PL" sz="2800" b="1" dirty="0" smtClean="0">
                <a:solidFill>
                  <a:srgbClr val="000000"/>
                </a:solidFill>
              </a:rPr>
              <a:t>000 złotych</a:t>
            </a:r>
            <a:endParaRPr lang="pl-PL" sz="2800" b="1" dirty="0">
              <a:solidFill>
                <a:srgbClr val="000000"/>
              </a:solidFill>
            </a:endParaRPr>
          </a:p>
          <a:p>
            <a:pPr algn="ctr"/>
            <a:endParaRPr lang="pl-PL" sz="2800" b="1" dirty="0" smtClean="0">
              <a:solidFill>
                <a:srgbClr val="000000"/>
              </a:solidFill>
            </a:endParaRPr>
          </a:p>
          <a:p>
            <a:pPr algn="ctr"/>
            <a:r>
              <a:rPr lang="pl-PL" sz="2000" dirty="0" smtClean="0">
                <a:solidFill>
                  <a:srgbClr val="000000"/>
                </a:solidFill>
              </a:rPr>
              <a:t>„Między </a:t>
            </a:r>
            <a:r>
              <a:rPr lang="pl-PL" sz="2000" dirty="0">
                <a:solidFill>
                  <a:srgbClr val="000000"/>
                </a:solidFill>
              </a:rPr>
              <a:t>Prosną a Wartą" - Lokalna Grupa </a:t>
            </a:r>
            <a:r>
              <a:rPr lang="pl-PL" sz="2000" dirty="0" smtClean="0">
                <a:solidFill>
                  <a:srgbClr val="000000"/>
                </a:solidFill>
              </a:rPr>
              <a:t>Działania</a:t>
            </a:r>
          </a:p>
          <a:p>
            <a:pPr algn="ctr"/>
            <a:r>
              <a:rPr lang="pl-PL" sz="2800" b="1" dirty="0" smtClean="0">
                <a:solidFill>
                  <a:srgbClr val="000000"/>
                </a:solidFill>
              </a:rPr>
              <a:t>620 </a:t>
            </a:r>
            <a:r>
              <a:rPr lang="pl-PL" sz="2800" b="1" dirty="0">
                <a:solidFill>
                  <a:srgbClr val="000000"/>
                </a:solidFill>
              </a:rPr>
              <a:t>000 złotych</a:t>
            </a:r>
          </a:p>
          <a:p>
            <a:pPr algn="ctr"/>
            <a:endParaRPr lang="pl-PL" sz="2800" b="1" dirty="0">
              <a:solidFill>
                <a:srgbClr val="000000"/>
              </a:solidFill>
            </a:endParaRPr>
          </a:p>
        </p:txBody>
      </p:sp>
      <p:pic>
        <p:nvPicPr>
          <p:cNvPr id="1027" name="Picture 3" descr="C:\Users\michal.kosmowski\AppData\Local\Microsoft\Windows\Temporary Internet Files\Content.IE5\WXEGUZTS\1200px-SNice.svg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2514" y="4245803"/>
            <a:ext cx="1429966" cy="142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528503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BONUSY – DALSZE POSTĘPOWANIE</a:t>
            </a:r>
          </a:p>
        </p:txBody>
      </p:sp>
      <p:grpSp>
        <p:nvGrpSpPr>
          <p:cNvPr id="11" name="Symbol zastępczy zawartości 4"/>
          <p:cNvGrpSpPr/>
          <p:nvPr/>
        </p:nvGrpSpPr>
        <p:grpSpPr>
          <a:xfrm>
            <a:off x="612648" y="1924775"/>
            <a:ext cx="5538648" cy="3072676"/>
            <a:chOff x="612648" y="1924775"/>
            <a:chExt cx="5538648" cy="3072676"/>
          </a:xfrm>
        </p:grpSpPr>
        <p:sp>
          <p:nvSpPr>
            <p:cNvPr id="12" name="Dowolny kształt 11"/>
            <p:cNvSpPr/>
            <p:nvPr/>
          </p:nvSpPr>
          <p:spPr>
            <a:xfrm>
              <a:off x="612648" y="1924775"/>
              <a:ext cx="2910224" cy="116408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910222"/>
                <a:gd name="f7" fmla="val 1164088"/>
                <a:gd name="f8" fmla="val 2328178"/>
                <a:gd name="f9" fmla="val 582044"/>
                <a:gd name="f10" fmla="+- 0 0 -90"/>
                <a:gd name="f11" fmla="*/ f3 1 2910222"/>
                <a:gd name="f12" fmla="*/ f4 1 1164088"/>
                <a:gd name="f13" fmla="+- f7 0 f5"/>
                <a:gd name="f14" fmla="+- f6 0 f5"/>
                <a:gd name="f15" fmla="*/ f10 f0 1"/>
                <a:gd name="f16" fmla="*/ f14 1 2910222"/>
                <a:gd name="f17" fmla="*/ f13 1 1164088"/>
                <a:gd name="f18" fmla="*/ 0 f14 1"/>
                <a:gd name="f19" fmla="*/ 0 f13 1"/>
                <a:gd name="f20" fmla="*/ 2328178 f14 1"/>
                <a:gd name="f21" fmla="*/ 2910222 f14 1"/>
                <a:gd name="f22" fmla="*/ 582044 f13 1"/>
                <a:gd name="f23" fmla="*/ 1164088 f13 1"/>
                <a:gd name="f24" fmla="*/ 582044 f14 1"/>
                <a:gd name="f25" fmla="*/ f15 1 f2"/>
                <a:gd name="f26" fmla="*/ f18 1 2910222"/>
                <a:gd name="f27" fmla="*/ f19 1 1164088"/>
                <a:gd name="f28" fmla="*/ f20 1 2910222"/>
                <a:gd name="f29" fmla="*/ f21 1 2910222"/>
                <a:gd name="f30" fmla="*/ f22 1 1164088"/>
                <a:gd name="f31" fmla="*/ f23 1 1164088"/>
                <a:gd name="f32" fmla="*/ f24 1 2910222"/>
                <a:gd name="f33" fmla="*/ f5 1 f16"/>
                <a:gd name="f34" fmla="*/ f6 1 f16"/>
                <a:gd name="f35" fmla="*/ f5 1 f17"/>
                <a:gd name="f36" fmla="*/ f7 1 f17"/>
                <a:gd name="f37" fmla="+- f25 0 f1"/>
                <a:gd name="f38" fmla="*/ f26 1 f16"/>
                <a:gd name="f39" fmla="*/ f27 1 f17"/>
                <a:gd name="f40" fmla="*/ f28 1 f16"/>
                <a:gd name="f41" fmla="*/ f29 1 f16"/>
                <a:gd name="f42" fmla="*/ f30 1 f17"/>
                <a:gd name="f43" fmla="*/ f31 1 f17"/>
                <a:gd name="f44" fmla="*/ f32 1 f16"/>
                <a:gd name="f45" fmla="*/ f33 f11 1"/>
                <a:gd name="f46" fmla="*/ f34 f11 1"/>
                <a:gd name="f47" fmla="*/ f36 f12 1"/>
                <a:gd name="f48" fmla="*/ f35 f12 1"/>
                <a:gd name="f49" fmla="*/ f38 f11 1"/>
                <a:gd name="f50" fmla="*/ f39 f12 1"/>
                <a:gd name="f51" fmla="*/ f40 f11 1"/>
                <a:gd name="f52" fmla="*/ f41 f11 1"/>
                <a:gd name="f53" fmla="*/ f42 f12 1"/>
                <a:gd name="f54" fmla="*/ f43 f12 1"/>
                <a:gd name="f55" fmla="*/ f44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49" y="f50"/>
                </a:cxn>
                <a:cxn ang="f37">
                  <a:pos x="f51" y="f50"/>
                </a:cxn>
                <a:cxn ang="f37">
                  <a:pos x="f52" y="f53"/>
                </a:cxn>
                <a:cxn ang="f37">
                  <a:pos x="f51" y="f54"/>
                </a:cxn>
                <a:cxn ang="f37">
                  <a:pos x="f49" y="f54"/>
                </a:cxn>
                <a:cxn ang="f37">
                  <a:pos x="f55" y="f53"/>
                </a:cxn>
                <a:cxn ang="f37">
                  <a:pos x="f49" y="f50"/>
                </a:cxn>
              </a:cxnLst>
              <a:rect l="f45" t="f48" r="f46" b="f47"/>
              <a:pathLst>
                <a:path w="2910222" h="1164088">
                  <a:moveTo>
                    <a:pt x="f5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8" y="f7"/>
                  </a:lnTo>
                  <a:lnTo>
                    <a:pt x="f5" y="f7"/>
                  </a:lnTo>
                  <a:lnTo>
                    <a:pt x="f9" y="f9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FFFFFF"/>
            </a:solidFill>
            <a:ln w="25402">
              <a:solidFill>
                <a:srgbClr val="44884F"/>
              </a:solidFill>
              <a:prstDash val="solid"/>
              <a:miter/>
            </a:ln>
          </p:spPr>
          <p:txBody>
            <a:bodyPr vert="horz" wrap="square" lIns="638050" tIns="18672" rIns="600715" bIns="18672" anchor="ctr" anchorCtr="1" compatLnSpc="1"/>
            <a:lstStyle/>
            <a:p>
              <a:pPr marL="0" marR="0" lvl="0" indent="0" algn="ctr" defTabSz="622304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400" b="0" i="0" u="none" strike="noStrike" kern="0" cap="none" spc="0" baseline="0" dirty="0">
                  <a:solidFill>
                    <a:srgbClr val="000000"/>
                  </a:solidFill>
                  <a:uFillTx/>
                  <a:latin typeface="Tw Cen MT"/>
                </a:rPr>
                <a:t>Przekazanie przez </a:t>
              </a:r>
              <a:r>
                <a:rPr lang="pl-PL" sz="1400" b="0" i="0" u="none" strike="noStrike" kern="0" cap="none" spc="0" baseline="0" dirty="0" err="1">
                  <a:solidFill>
                    <a:srgbClr val="000000"/>
                  </a:solidFill>
                  <a:uFillTx/>
                  <a:latin typeface="Tw Cen MT"/>
                </a:rPr>
                <a:t>MRiRW</a:t>
              </a:r>
              <a:r>
                <a:rPr lang="pl-PL" sz="1400" b="0" i="0" u="none" strike="noStrike" kern="0" cap="none" spc="0" baseline="0" dirty="0">
                  <a:solidFill>
                    <a:srgbClr val="000000"/>
                  </a:solidFill>
                  <a:uFillTx/>
                  <a:latin typeface="Tw Cen MT"/>
                </a:rPr>
                <a:t> do SW instrukcji do ubiegania się przez LGD o podwyższenie budżetów (bonusy)</a:t>
              </a:r>
            </a:p>
          </p:txBody>
        </p:sp>
        <p:sp>
          <p:nvSpPr>
            <p:cNvPr id="13" name="Dowolny kształt 12"/>
            <p:cNvSpPr/>
            <p:nvPr/>
          </p:nvSpPr>
          <p:spPr>
            <a:xfrm>
              <a:off x="3228252" y="3833365"/>
              <a:ext cx="2910224" cy="116408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910222"/>
                <a:gd name="f7" fmla="val 1164088"/>
                <a:gd name="f8" fmla="val 2328178"/>
                <a:gd name="f9" fmla="val 582044"/>
                <a:gd name="f10" fmla="+- 0 0 -90"/>
                <a:gd name="f11" fmla="*/ f3 1 2910222"/>
                <a:gd name="f12" fmla="*/ f4 1 1164088"/>
                <a:gd name="f13" fmla="+- f7 0 f5"/>
                <a:gd name="f14" fmla="+- f6 0 f5"/>
                <a:gd name="f15" fmla="*/ f10 f0 1"/>
                <a:gd name="f16" fmla="*/ f14 1 2910222"/>
                <a:gd name="f17" fmla="*/ f13 1 1164088"/>
                <a:gd name="f18" fmla="*/ 0 f14 1"/>
                <a:gd name="f19" fmla="*/ 0 f13 1"/>
                <a:gd name="f20" fmla="*/ 2328178 f14 1"/>
                <a:gd name="f21" fmla="*/ 2910222 f14 1"/>
                <a:gd name="f22" fmla="*/ 582044 f13 1"/>
                <a:gd name="f23" fmla="*/ 1164088 f13 1"/>
                <a:gd name="f24" fmla="*/ 582044 f14 1"/>
                <a:gd name="f25" fmla="*/ f15 1 f2"/>
                <a:gd name="f26" fmla="*/ f18 1 2910222"/>
                <a:gd name="f27" fmla="*/ f19 1 1164088"/>
                <a:gd name="f28" fmla="*/ f20 1 2910222"/>
                <a:gd name="f29" fmla="*/ f21 1 2910222"/>
                <a:gd name="f30" fmla="*/ f22 1 1164088"/>
                <a:gd name="f31" fmla="*/ f23 1 1164088"/>
                <a:gd name="f32" fmla="*/ f24 1 2910222"/>
                <a:gd name="f33" fmla="*/ f5 1 f16"/>
                <a:gd name="f34" fmla="*/ f6 1 f16"/>
                <a:gd name="f35" fmla="*/ f5 1 f17"/>
                <a:gd name="f36" fmla="*/ f7 1 f17"/>
                <a:gd name="f37" fmla="+- f25 0 f1"/>
                <a:gd name="f38" fmla="*/ f26 1 f16"/>
                <a:gd name="f39" fmla="*/ f27 1 f17"/>
                <a:gd name="f40" fmla="*/ f28 1 f16"/>
                <a:gd name="f41" fmla="*/ f29 1 f16"/>
                <a:gd name="f42" fmla="*/ f30 1 f17"/>
                <a:gd name="f43" fmla="*/ f31 1 f17"/>
                <a:gd name="f44" fmla="*/ f32 1 f16"/>
                <a:gd name="f45" fmla="*/ f33 f11 1"/>
                <a:gd name="f46" fmla="*/ f34 f11 1"/>
                <a:gd name="f47" fmla="*/ f36 f12 1"/>
                <a:gd name="f48" fmla="*/ f35 f12 1"/>
                <a:gd name="f49" fmla="*/ f38 f11 1"/>
                <a:gd name="f50" fmla="*/ f39 f12 1"/>
                <a:gd name="f51" fmla="*/ f40 f11 1"/>
                <a:gd name="f52" fmla="*/ f41 f11 1"/>
                <a:gd name="f53" fmla="*/ f42 f12 1"/>
                <a:gd name="f54" fmla="*/ f43 f12 1"/>
                <a:gd name="f55" fmla="*/ f44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49" y="f50"/>
                </a:cxn>
                <a:cxn ang="f37">
                  <a:pos x="f51" y="f50"/>
                </a:cxn>
                <a:cxn ang="f37">
                  <a:pos x="f52" y="f53"/>
                </a:cxn>
                <a:cxn ang="f37">
                  <a:pos x="f51" y="f54"/>
                </a:cxn>
                <a:cxn ang="f37">
                  <a:pos x="f49" y="f54"/>
                </a:cxn>
                <a:cxn ang="f37">
                  <a:pos x="f55" y="f53"/>
                </a:cxn>
                <a:cxn ang="f37">
                  <a:pos x="f49" y="f50"/>
                </a:cxn>
              </a:cxnLst>
              <a:rect l="f45" t="f48" r="f46" b="f47"/>
              <a:pathLst>
                <a:path w="2910222" h="1164088">
                  <a:moveTo>
                    <a:pt x="f5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8" y="f7"/>
                  </a:lnTo>
                  <a:lnTo>
                    <a:pt x="f5" y="f7"/>
                  </a:lnTo>
                  <a:lnTo>
                    <a:pt x="f9" y="f9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FFFFFF"/>
            </a:solidFill>
            <a:ln w="25402">
              <a:solidFill>
                <a:srgbClr val="44884F"/>
              </a:solidFill>
              <a:prstDash val="solid"/>
              <a:miter/>
            </a:ln>
          </p:spPr>
          <p:txBody>
            <a:bodyPr vert="horz" wrap="square" lIns="646051" tIns="21332" rIns="603375" bIns="21332" anchor="ctr" anchorCtr="1" compatLnSpc="1"/>
            <a:lstStyle/>
            <a:p>
              <a:pPr marL="0" marR="0" lvl="0" indent="0" algn="ctr" defTabSz="711202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70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500" b="0" i="0" u="none" strike="noStrike" kern="1200" cap="none" spc="0" baseline="0">
                  <a:solidFill>
                    <a:srgbClr val="000000"/>
                  </a:solidFill>
                  <a:uFillTx/>
                  <a:latin typeface="Tw Cen MT"/>
                </a:rPr>
                <a:t>Przekazanie przez SW do MRiRW informacji o wysokości przyznanych bonusów</a:t>
              </a:r>
            </a:p>
          </p:txBody>
        </p:sp>
        <p:sp>
          <p:nvSpPr>
            <p:cNvPr id="14" name="Dowolny kształt 13"/>
            <p:cNvSpPr/>
            <p:nvPr/>
          </p:nvSpPr>
          <p:spPr>
            <a:xfrm>
              <a:off x="3241072" y="1924775"/>
              <a:ext cx="2910224" cy="116408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910222"/>
                <a:gd name="f7" fmla="val 1164088"/>
                <a:gd name="f8" fmla="val 2328178"/>
                <a:gd name="f9" fmla="val 582044"/>
                <a:gd name="f10" fmla="+- 0 0 -90"/>
                <a:gd name="f11" fmla="*/ f3 1 2910222"/>
                <a:gd name="f12" fmla="*/ f4 1 1164088"/>
                <a:gd name="f13" fmla="+- f7 0 f5"/>
                <a:gd name="f14" fmla="+- f6 0 f5"/>
                <a:gd name="f15" fmla="*/ f10 f0 1"/>
                <a:gd name="f16" fmla="*/ f14 1 2910222"/>
                <a:gd name="f17" fmla="*/ f13 1 1164088"/>
                <a:gd name="f18" fmla="*/ 0 f14 1"/>
                <a:gd name="f19" fmla="*/ 0 f13 1"/>
                <a:gd name="f20" fmla="*/ 2328178 f14 1"/>
                <a:gd name="f21" fmla="*/ 2910222 f14 1"/>
                <a:gd name="f22" fmla="*/ 582044 f13 1"/>
                <a:gd name="f23" fmla="*/ 1164088 f13 1"/>
                <a:gd name="f24" fmla="*/ 582044 f14 1"/>
                <a:gd name="f25" fmla="*/ f15 1 f2"/>
                <a:gd name="f26" fmla="*/ f18 1 2910222"/>
                <a:gd name="f27" fmla="*/ f19 1 1164088"/>
                <a:gd name="f28" fmla="*/ f20 1 2910222"/>
                <a:gd name="f29" fmla="*/ f21 1 2910222"/>
                <a:gd name="f30" fmla="*/ f22 1 1164088"/>
                <a:gd name="f31" fmla="*/ f23 1 1164088"/>
                <a:gd name="f32" fmla="*/ f24 1 2910222"/>
                <a:gd name="f33" fmla="*/ f5 1 f16"/>
                <a:gd name="f34" fmla="*/ f6 1 f16"/>
                <a:gd name="f35" fmla="*/ f5 1 f17"/>
                <a:gd name="f36" fmla="*/ f7 1 f17"/>
                <a:gd name="f37" fmla="+- f25 0 f1"/>
                <a:gd name="f38" fmla="*/ f26 1 f16"/>
                <a:gd name="f39" fmla="*/ f27 1 f17"/>
                <a:gd name="f40" fmla="*/ f28 1 f16"/>
                <a:gd name="f41" fmla="*/ f29 1 f16"/>
                <a:gd name="f42" fmla="*/ f30 1 f17"/>
                <a:gd name="f43" fmla="*/ f31 1 f17"/>
                <a:gd name="f44" fmla="*/ f32 1 f16"/>
                <a:gd name="f45" fmla="*/ f33 f11 1"/>
                <a:gd name="f46" fmla="*/ f34 f11 1"/>
                <a:gd name="f47" fmla="*/ f36 f12 1"/>
                <a:gd name="f48" fmla="*/ f35 f12 1"/>
                <a:gd name="f49" fmla="*/ f38 f11 1"/>
                <a:gd name="f50" fmla="*/ f39 f12 1"/>
                <a:gd name="f51" fmla="*/ f40 f11 1"/>
                <a:gd name="f52" fmla="*/ f41 f11 1"/>
                <a:gd name="f53" fmla="*/ f42 f12 1"/>
                <a:gd name="f54" fmla="*/ f43 f12 1"/>
                <a:gd name="f55" fmla="*/ f44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49" y="f50"/>
                </a:cxn>
                <a:cxn ang="f37">
                  <a:pos x="f51" y="f50"/>
                </a:cxn>
                <a:cxn ang="f37">
                  <a:pos x="f52" y="f53"/>
                </a:cxn>
                <a:cxn ang="f37">
                  <a:pos x="f51" y="f54"/>
                </a:cxn>
                <a:cxn ang="f37">
                  <a:pos x="f49" y="f54"/>
                </a:cxn>
                <a:cxn ang="f37">
                  <a:pos x="f55" y="f53"/>
                </a:cxn>
                <a:cxn ang="f37">
                  <a:pos x="f49" y="f50"/>
                </a:cxn>
              </a:cxnLst>
              <a:rect l="f45" t="f48" r="f46" b="f47"/>
              <a:pathLst>
                <a:path w="2910222" h="1164088">
                  <a:moveTo>
                    <a:pt x="f5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8" y="f7"/>
                  </a:lnTo>
                  <a:lnTo>
                    <a:pt x="f5" y="f7"/>
                  </a:lnTo>
                  <a:lnTo>
                    <a:pt x="f9" y="f9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FFFFFF"/>
            </a:solidFill>
            <a:ln w="25402">
              <a:solidFill>
                <a:srgbClr val="44884F"/>
              </a:solidFill>
              <a:prstDash val="solid"/>
              <a:miter/>
            </a:ln>
          </p:spPr>
          <p:txBody>
            <a:bodyPr vert="horz" wrap="square" lIns="630049" tIns="16002" rIns="598045" bIns="16002" anchor="ctr" anchorCtr="1" compatLnSpc="1"/>
            <a:lstStyle/>
            <a:p>
              <a:pPr marL="0" marR="0" lvl="0" indent="0" algn="ctr" defTabSz="533396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50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0" i="0" u="none" strike="noStrike" kern="1200" cap="none" spc="0" baseline="0">
                  <a:solidFill>
                    <a:srgbClr val="000000"/>
                  </a:solidFill>
                  <a:uFillTx/>
                  <a:latin typeface="Tw Cen MT"/>
                </a:rPr>
                <a:t>Zawnioskowanie przez LGD o bonusy</a:t>
              </a:r>
            </a:p>
          </p:txBody>
        </p:sp>
      </p:grpSp>
      <p:grpSp>
        <p:nvGrpSpPr>
          <p:cNvPr id="15" name="Symbol zastępczy zawartości 4"/>
          <p:cNvGrpSpPr/>
          <p:nvPr/>
        </p:nvGrpSpPr>
        <p:grpSpPr>
          <a:xfrm>
            <a:off x="609785" y="1921831"/>
            <a:ext cx="8099435" cy="3076772"/>
            <a:chOff x="609785" y="1921831"/>
            <a:chExt cx="8099435" cy="3076772"/>
          </a:xfrm>
        </p:grpSpPr>
        <p:sp>
          <p:nvSpPr>
            <p:cNvPr id="16" name="Dowolny kształt 15"/>
            <p:cNvSpPr/>
            <p:nvPr/>
          </p:nvSpPr>
          <p:spPr>
            <a:xfrm>
              <a:off x="5796134" y="1921831"/>
              <a:ext cx="2913086" cy="116523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913089"/>
                <a:gd name="f7" fmla="val 1165235"/>
                <a:gd name="f8" fmla="val 2330472"/>
                <a:gd name="f9" fmla="val 582618"/>
                <a:gd name="f10" fmla="+- 0 0 -90"/>
                <a:gd name="f11" fmla="*/ f3 1 2913089"/>
                <a:gd name="f12" fmla="*/ f4 1 1165235"/>
                <a:gd name="f13" fmla="+- f7 0 f5"/>
                <a:gd name="f14" fmla="+- f6 0 f5"/>
                <a:gd name="f15" fmla="*/ f10 f0 1"/>
                <a:gd name="f16" fmla="*/ f14 1 2913089"/>
                <a:gd name="f17" fmla="*/ f13 1 1165235"/>
                <a:gd name="f18" fmla="*/ 0 f14 1"/>
                <a:gd name="f19" fmla="*/ 0 f13 1"/>
                <a:gd name="f20" fmla="*/ 2330472 f14 1"/>
                <a:gd name="f21" fmla="*/ 2913089 f14 1"/>
                <a:gd name="f22" fmla="*/ 582618 f13 1"/>
                <a:gd name="f23" fmla="*/ 1165235 f13 1"/>
                <a:gd name="f24" fmla="*/ 582618 f14 1"/>
                <a:gd name="f25" fmla="*/ f15 1 f2"/>
                <a:gd name="f26" fmla="*/ f18 1 2913089"/>
                <a:gd name="f27" fmla="*/ f19 1 1165235"/>
                <a:gd name="f28" fmla="*/ f20 1 2913089"/>
                <a:gd name="f29" fmla="*/ f21 1 2913089"/>
                <a:gd name="f30" fmla="*/ f22 1 1165235"/>
                <a:gd name="f31" fmla="*/ f23 1 1165235"/>
                <a:gd name="f32" fmla="*/ f24 1 2913089"/>
                <a:gd name="f33" fmla="*/ f5 1 f16"/>
                <a:gd name="f34" fmla="*/ f6 1 f16"/>
                <a:gd name="f35" fmla="*/ f5 1 f17"/>
                <a:gd name="f36" fmla="*/ f7 1 f17"/>
                <a:gd name="f37" fmla="+- f25 0 f1"/>
                <a:gd name="f38" fmla="*/ f26 1 f16"/>
                <a:gd name="f39" fmla="*/ f27 1 f17"/>
                <a:gd name="f40" fmla="*/ f28 1 f16"/>
                <a:gd name="f41" fmla="*/ f29 1 f16"/>
                <a:gd name="f42" fmla="*/ f30 1 f17"/>
                <a:gd name="f43" fmla="*/ f31 1 f17"/>
                <a:gd name="f44" fmla="*/ f32 1 f16"/>
                <a:gd name="f45" fmla="*/ f33 f11 1"/>
                <a:gd name="f46" fmla="*/ f34 f11 1"/>
                <a:gd name="f47" fmla="*/ f36 f12 1"/>
                <a:gd name="f48" fmla="*/ f35 f12 1"/>
                <a:gd name="f49" fmla="*/ f38 f11 1"/>
                <a:gd name="f50" fmla="*/ f39 f12 1"/>
                <a:gd name="f51" fmla="*/ f40 f11 1"/>
                <a:gd name="f52" fmla="*/ f41 f11 1"/>
                <a:gd name="f53" fmla="*/ f42 f12 1"/>
                <a:gd name="f54" fmla="*/ f43 f12 1"/>
                <a:gd name="f55" fmla="*/ f44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49" y="f50"/>
                </a:cxn>
                <a:cxn ang="f37">
                  <a:pos x="f51" y="f50"/>
                </a:cxn>
                <a:cxn ang="f37">
                  <a:pos x="f52" y="f53"/>
                </a:cxn>
                <a:cxn ang="f37">
                  <a:pos x="f51" y="f54"/>
                </a:cxn>
                <a:cxn ang="f37">
                  <a:pos x="f49" y="f54"/>
                </a:cxn>
                <a:cxn ang="f37">
                  <a:pos x="f55" y="f53"/>
                </a:cxn>
                <a:cxn ang="f37">
                  <a:pos x="f49" y="f50"/>
                </a:cxn>
              </a:cxnLst>
              <a:rect l="f45" t="f48" r="f46" b="f47"/>
              <a:pathLst>
                <a:path w="2913089" h="1165235">
                  <a:moveTo>
                    <a:pt x="f5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8" y="f7"/>
                  </a:lnTo>
                  <a:lnTo>
                    <a:pt x="f5" y="f7"/>
                  </a:lnTo>
                  <a:lnTo>
                    <a:pt x="f9" y="f9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FFFFFF"/>
            </a:solidFill>
            <a:ln w="25402">
              <a:solidFill>
                <a:srgbClr val="44884F"/>
              </a:solidFill>
              <a:prstDash val="solid"/>
              <a:miter/>
            </a:ln>
          </p:spPr>
          <p:txBody>
            <a:bodyPr vert="horz" wrap="square" lIns="638626" tIns="18672" rIns="601282" bIns="18672" anchor="ctr" anchorCtr="1" compatLnSpc="1"/>
            <a:lstStyle/>
            <a:p>
              <a:pPr marL="0" marR="0" lvl="0" indent="0" algn="ctr" defTabSz="622304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0" i="0" u="none" strike="noStrike" kern="1200" cap="none" spc="0" baseline="0">
                  <a:solidFill>
                    <a:srgbClr val="000000"/>
                  </a:solidFill>
                  <a:uFillTx/>
                  <a:latin typeface="Tw Cen MT"/>
                </a:rPr>
                <a:t>Weryfikacja „wniosków” przez SW</a:t>
              </a:r>
              <a:endParaRPr lang="pl-PL" sz="1600" b="1" i="0" u="none" strike="noStrike" kern="1200" cap="none" spc="0" baseline="0">
                <a:solidFill>
                  <a:srgbClr val="000000"/>
                </a:solidFill>
                <a:uFillTx/>
                <a:latin typeface="Tw Cen MT"/>
              </a:endParaRPr>
            </a:p>
          </p:txBody>
        </p:sp>
        <p:sp>
          <p:nvSpPr>
            <p:cNvPr id="17" name="Dowolny kształt 16"/>
            <p:cNvSpPr/>
            <p:nvPr/>
          </p:nvSpPr>
          <p:spPr>
            <a:xfrm>
              <a:off x="609785" y="3833365"/>
              <a:ext cx="2913086" cy="116523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913089"/>
                <a:gd name="f7" fmla="val 1165235"/>
                <a:gd name="f8" fmla="val 2330472"/>
                <a:gd name="f9" fmla="val 582618"/>
                <a:gd name="f10" fmla="+- 0 0 -90"/>
                <a:gd name="f11" fmla="*/ f3 1 2913089"/>
                <a:gd name="f12" fmla="*/ f4 1 1165235"/>
                <a:gd name="f13" fmla="+- f7 0 f5"/>
                <a:gd name="f14" fmla="+- f6 0 f5"/>
                <a:gd name="f15" fmla="*/ f10 f0 1"/>
                <a:gd name="f16" fmla="*/ f14 1 2913089"/>
                <a:gd name="f17" fmla="*/ f13 1 1165235"/>
                <a:gd name="f18" fmla="*/ 0 f14 1"/>
                <a:gd name="f19" fmla="*/ 0 f13 1"/>
                <a:gd name="f20" fmla="*/ 2330472 f14 1"/>
                <a:gd name="f21" fmla="*/ 2913089 f14 1"/>
                <a:gd name="f22" fmla="*/ 582618 f13 1"/>
                <a:gd name="f23" fmla="*/ 1165235 f13 1"/>
                <a:gd name="f24" fmla="*/ 582618 f14 1"/>
                <a:gd name="f25" fmla="*/ f15 1 f2"/>
                <a:gd name="f26" fmla="*/ f18 1 2913089"/>
                <a:gd name="f27" fmla="*/ f19 1 1165235"/>
                <a:gd name="f28" fmla="*/ f20 1 2913089"/>
                <a:gd name="f29" fmla="*/ f21 1 2913089"/>
                <a:gd name="f30" fmla="*/ f22 1 1165235"/>
                <a:gd name="f31" fmla="*/ f23 1 1165235"/>
                <a:gd name="f32" fmla="*/ f24 1 2913089"/>
                <a:gd name="f33" fmla="*/ f5 1 f16"/>
                <a:gd name="f34" fmla="*/ f6 1 f16"/>
                <a:gd name="f35" fmla="*/ f5 1 f17"/>
                <a:gd name="f36" fmla="*/ f7 1 f17"/>
                <a:gd name="f37" fmla="+- f25 0 f1"/>
                <a:gd name="f38" fmla="*/ f26 1 f16"/>
                <a:gd name="f39" fmla="*/ f27 1 f17"/>
                <a:gd name="f40" fmla="*/ f28 1 f16"/>
                <a:gd name="f41" fmla="*/ f29 1 f16"/>
                <a:gd name="f42" fmla="*/ f30 1 f17"/>
                <a:gd name="f43" fmla="*/ f31 1 f17"/>
                <a:gd name="f44" fmla="*/ f32 1 f16"/>
                <a:gd name="f45" fmla="*/ f33 f11 1"/>
                <a:gd name="f46" fmla="*/ f34 f11 1"/>
                <a:gd name="f47" fmla="*/ f36 f12 1"/>
                <a:gd name="f48" fmla="*/ f35 f12 1"/>
                <a:gd name="f49" fmla="*/ f38 f11 1"/>
                <a:gd name="f50" fmla="*/ f39 f12 1"/>
                <a:gd name="f51" fmla="*/ f40 f11 1"/>
                <a:gd name="f52" fmla="*/ f41 f11 1"/>
                <a:gd name="f53" fmla="*/ f42 f12 1"/>
                <a:gd name="f54" fmla="*/ f43 f12 1"/>
                <a:gd name="f55" fmla="*/ f44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7">
                  <a:pos x="f49" y="f50"/>
                </a:cxn>
                <a:cxn ang="f37">
                  <a:pos x="f51" y="f50"/>
                </a:cxn>
                <a:cxn ang="f37">
                  <a:pos x="f52" y="f53"/>
                </a:cxn>
                <a:cxn ang="f37">
                  <a:pos x="f51" y="f54"/>
                </a:cxn>
                <a:cxn ang="f37">
                  <a:pos x="f49" y="f54"/>
                </a:cxn>
                <a:cxn ang="f37">
                  <a:pos x="f55" y="f53"/>
                </a:cxn>
                <a:cxn ang="f37">
                  <a:pos x="f49" y="f50"/>
                </a:cxn>
              </a:cxnLst>
              <a:rect l="f45" t="f48" r="f46" b="f47"/>
              <a:pathLst>
                <a:path w="2913089" h="1165235">
                  <a:moveTo>
                    <a:pt x="f5" y="f5"/>
                  </a:moveTo>
                  <a:lnTo>
                    <a:pt x="f8" y="f5"/>
                  </a:lnTo>
                  <a:lnTo>
                    <a:pt x="f6" y="f9"/>
                  </a:lnTo>
                  <a:lnTo>
                    <a:pt x="f8" y="f7"/>
                  </a:lnTo>
                  <a:lnTo>
                    <a:pt x="f5" y="f7"/>
                  </a:lnTo>
                  <a:lnTo>
                    <a:pt x="f9" y="f9"/>
                  </a:lnTo>
                  <a:lnTo>
                    <a:pt x="f5" y="f5"/>
                  </a:lnTo>
                  <a:close/>
                </a:path>
              </a:pathLst>
            </a:custGeom>
            <a:solidFill>
              <a:srgbClr val="FFFFFF"/>
            </a:solidFill>
            <a:ln w="25402">
              <a:solidFill>
                <a:srgbClr val="44884F"/>
              </a:solidFill>
              <a:prstDash val="solid"/>
              <a:miter/>
            </a:ln>
          </p:spPr>
          <p:txBody>
            <a:bodyPr vert="horz" wrap="square" lIns="646627" tIns="21332" rIns="603952" bIns="21332" anchor="ctr" anchorCtr="1" compatLnSpc="1"/>
            <a:lstStyle/>
            <a:p>
              <a:pPr marL="0" marR="0" lvl="0" indent="0" algn="ctr" defTabSz="711202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70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0" i="0" u="none" strike="noStrike" kern="1200" cap="none" spc="0" baseline="0">
                  <a:solidFill>
                    <a:srgbClr val="000000"/>
                  </a:solidFill>
                  <a:uFillTx/>
                  <a:latin typeface="Tw Cen MT"/>
                </a:rPr>
                <a:t>Aneksowanie umów ramowyc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6659204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ZASADY PRZYZNAWANIA BONUSÓW</a:t>
            </a:r>
          </a:p>
        </p:txBody>
      </p:sp>
      <p:sp>
        <p:nvSpPr>
          <p:cNvPr id="2" name="Prostokąt 1"/>
          <p:cNvSpPr/>
          <p:nvPr/>
        </p:nvSpPr>
        <p:spPr>
          <a:xfrm>
            <a:off x="395536" y="908720"/>
            <a:ext cx="8424936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l-PL" dirty="0" smtClean="0"/>
              <a:t>SWŁ </a:t>
            </a:r>
            <a:r>
              <a:rPr lang="pl-PL" dirty="0"/>
              <a:t>informuje pisemnie wybrane LGD o możliwości zawnioskowania o dodatkowe środki w LSR</a:t>
            </a:r>
            <a:r>
              <a:rPr lang="pl-PL" dirty="0" smtClean="0"/>
              <a:t>.</a:t>
            </a:r>
          </a:p>
          <a:p>
            <a:pPr lvl="0" algn="just"/>
            <a:endParaRPr lang="pl-PL" dirty="0"/>
          </a:p>
          <a:p>
            <a:pPr lvl="0" algn="just"/>
            <a:r>
              <a:rPr lang="pl-PL" dirty="0"/>
              <a:t>LGD ubiega się o dodatkowe środki wnioskując </a:t>
            </a:r>
            <a:r>
              <a:rPr lang="pl-PL" b="1" dirty="0"/>
              <a:t>pisemnie</a:t>
            </a:r>
            <a:r>
              <a:rPr lang="pl-PL" dirty="0"/>
              <a:t> do </a:t>
            </a:r>
            <a:r>
              <a:rPr lang="pl-PL" dirty="0" smtClean="0"/>
              <a:t>SWŁ.</a:t>
            </a:r>
          </a:p>
          <a:p>
            <a:pPr lvl="0" algn="just"/>
            <a:endParaRPr lang="pl-PL" dirty="0"/>
          </a:p>
          <a:p>
            <a:pPr lvl="0" algn="just"/>
            <a:r>
              <a:rPr lang="pl-PL" dirty="0"/>
              <a:t>LGD wnioskując o dodatkowe środki przedstawia propozycję </a:t>
            </a:r>
            <a:r>
              <a:rPr lang="pl-PL" b="1" dirty="0"/>
              <a:t>aktualizacji planu działania LSR </a:t>
            </a:r>
            <a:r>
              <a:rPr lang="pl-PL" dirty="0"/>
              <a:t>wraz z </a:t>
            </a:r>
            <a:r>
              <a:rPr lang="pl-PL" b="1" dirty="0"/>
              <a:t>budżetem LSR </a:t>
            </a:r>
            <a:r>
              <a:rPr lang="pl-PL" dirty="0"/>
              <a:t>oraz </a:t>
            </a:r>
            <a:r>
              <a:rPr lang="pl-PL" b="1" dirty="0"/>
              <a:t>dodatkowymi wskaźnikami do osiągnięcia</a:t>
            </a:r>
            <a:r>
              <a:rPr lang="pl-PL" dirty="0"/>
              <a:t>. </a:t>
            </a:r>
          </a:p>
          <a:p>
            <a:pPr marL="0" lvl="0" indent="0" algn="just">
              <a:spcBef>
                <a:spcPts val="3000"/>
              </a:spcBef>
              <a:buNone/>
            </a:pPr>
            <a:r>
              <a:rPr lang="pl-PL" i="1" dirty="0"/>
              <a:t>W ramach dodatkowych środków mogą być realizowane zarówno </a:t>
            </a:r>
            <a:r>
              <a:rPr lang="pl-PL" b="1" i="1" dirty="0"/>
              <a:t>wskaźniki nowe</a:t>
            </a:r>
            <a:r>
              <a:rPr lang="pl-PL" i="1" dirty="0"/>
              <a:t>, jak i </a:t>
            </a:r>
            <a:r>
              <a:rPr lang="pl-PL" b="1" i="1" dirty="0"/>
              <a:t>wskaźniki obecne ze zwiększoną </a:t>
            </a:r>
            <a:r>
              <a:rPr lang="pl-PL" b="1" i="1" dirty="0" smtClean="0"/>
              <a:t>wartością.</a:t>
            </a:r>
          </a:p>
          <a:p>
            <a:pPr algn="just">
              <a:spcBef>
                <a:spcPts val="3000"/>
              </a:spcBef>
            </a:pPr>
            <a:r>
              <a:rPr lang="pl-P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nowane dodatkowe wskaźniki do osiągnięcia (nowe/zwiększone wartości obecnych) są następstwem przeprowadzonej </a:t>
            </a:r>
            <a:r>
              <a:rPr lang="pl-PL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ualizacji diagnozy obszaru LSR</a:t>
            </a:r>
            <a:r>
              <a:rPr lang="pl-P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ykazującej, że proponowane dodatkowe wskaźniki wpisują się w nią i są racjonalne – LGD wnioskując przedstawia aktualizację diagnozy obszaru </a:t>
            </a:r>
            <a:r>
              <a:rPr lang="pl-PL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SR.</a:t>
            </a:r>
            <a:endParaRPr lang="pl-P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spcBef>
                <a:spcPts val="3000"/>
              </a:spcBef>
              <a:buNone/>
            </a:pPr>
            <a:endParaRPr lang="pl-PL" b="1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201355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ZASADY PRZYZNAWANIA BONUSÓW</a:t>
            </a:r>
          </a:p>
        </p:txBody>
      </p:sp>
      <p:sp>
        <p:nvSpPr>
          <p:cNvPr id="2" name="Prostokąt 1"/>
          <p:cNvSpPr/>
          <p:nvPr/>
        </p:nvSpPr>
        <p:spPr>
          <a:xfrm>
            <a:off x="395536" y="908720"/>
            <a:ext cx="8424936" cy="352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l-PL" dirty="0"/>
              <a:t>LGD może ubiegać się o dodatkowe środki jedynie na operacje dotyczące </a:t>
            </a:r>
            <a:r>
              <a:rPr lang="pl-PL" b="1" dirty="0"/>
              <a:t>rozwoju </a:t>
            </a:r>
            <a:r>
              <a:rPr lang="pl-PL" b="1" dirty="0" smtClean="0"/>
              <a:t>przedsiębiorczości</a:t>
            </a:r>
            <a:r>
              <a:rPr lang="pl-PL" dirty="0" smtClean="0"/>
              <a:t>:</a:t>
            </a:r>
          </a:p>
          <a:p>
            <a:pPr lvl="0" algn="just"/>
            <a:endParaRPr lang="pl-PL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 smtClean="0"/>
              <a:t>podejmowanie </a:t>
            </a:r>
            <a:r>
              <a:rPr lang="pl-PL" dirty="0"/>
              <a:t>działalności gospodarczej (pkt </a:t>
            </a:r>
            <a:r>
              <a:rPr lang="pl-PL" dirty="0" smtClean="0"/>
              <a:t>2a),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 smtClean="0"/>
              <a:t>rozwijanie działalności gospodarczej </a:t>
            </a:r>
            <a:r>
              <a:rPr lang="pl-PL" dirty="0"/>
              <a:t>(pkt 2c</a:t>
            </a:r>
            <a:r>
              <a:rPr lang="pl-PL" dirty="0" smtClean="0"/>
              <a:t>),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 smtClean="0"/>
              <a:t>inkubatory </a:t>
            </a:r>
            <a:r>
              <a:rPr lang="pl-PL" dirty="0"/>
              <a:t>(pkt 2b</a:t>
            </a:r>
            <a:r>
              <a:rPr lang="pl-PL" dirty="0" smtClean="0"/>
              <a:t>),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 smtClean="0"/>
              <a:t>wspieranie </a:t>
            </a:r>
            <a:r>
              <a:rPr lang="pl-PL" dirty="0"/>
              <a:t>współpracy między podmiotami wykonującymi działalność gospodarczą (pkt </a:t>
            </a:r>
            <a:r>
              <a:rPr lang="pl-PL" dirty="0" smtClean="0"/>
              <a:t>3),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 smtClean="0"/>
              <a:t>rozwój </a:t>
            </a:r>
            <a:r>
              <a:rPr lang="pl-PL" dirty="0"/>
              <a:t>rynków zbytu produktów i usług lokalnych, z wyłączeniem targowisk (pkt 4). </a:t>
            </a:r>
          </a:p>
          <a:p>
            <a:pPr marL="0" lvl="0" indent="0" algn="just">
              <a:spcBef>
                <a:spcPts val="3000"/>
              </a:spcBef>
              <a:buNone/>
            </a:pPr>
            <a:endParaRPr lang="pl-PL" b="1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791155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ZASADY PRZYZNAWANIA BONUSÓW</a:t>
            </a:r>
          </a:p>
        </p:txBody>
      </p:sp>
      <p:sp>
        <p:nvSpPr>
          <p:cNvPr id="2" name="Prostokąt 1"/>
          <p:cNvSpPr/>
          <p:nvPr/>
        </p:nvSpPr>
        <p:spPr>
          <a:xfrm>
            <a:off x="395536" y="908720"/>
            <a:ext cx="8424936" cy="395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l-PL" dirty="0"/>
              <a:t>LGD może ubiegać się o podwyższenie środków finansowych w </a:t>
            </a:r>
            <a:r>
              <a:rPr lang="pl-PL" dirty="0" smtClean="0"/>
              <a:t>wysokości</a:t>
            </a:r>
          </a:p>
          <a:p>
            <a:pPr lvl="0" algn="just"/>
            <a:endParaRPr lang="pl-PL" dirty="0" smtClean="0"/>
          </a:p>
          <a:p>
            <a:pPr lvl="0" algn="ctr"/>
            <a:r>
              <a:rPr lang="pl-PL" sz="2800" b="1" u="sng" dirty="0" smtClean="0"/>
              <a:t>do 11%</a:t>
            </a:r>
            <a:endParaRPr lang="pl-PL" sz="2800" dirty="0" smtClean="0"/>
          </a:p>
          <a:p>
            <a:pPr lvl="0" algn="just"/>
            <a:endParaRPr lang="pl-PL" dirty="0" smtClean="0"/>
          </a:p>
          <a:p>
            <a:pPr lvl="0" algn="just"/>
            <a:r>
              <a:rPr lang="pl-PL" dirty="0" smtClean="0"/>
              <a:t>wysokości </a:t>
            </a:r>
            <a:r>
              <a:rPr lang="pl-PL" dirty="0"/>
              <a:t>budżetu 19.2, z tym że kwota ta musi stanowić </a:t>
            </a:r>
            <a:r>
              <a:rPr lang="pl-PL" b="1" dirty="0"/>
              <a:t>wielokrotność kwoty </a:t>
            </a:r>
            <a:r>
              <a:rPr lang="pl-PL" b="1" dirty="0" smtClean="0"/>
              <a:t>10 </a:t>
            </a:r>
            <a:r>
              <a:rPr lang="pl-PL" b="1" dirty="0"/>
              <a:t>tys. zł</a:t>
            </a:r>
            <a:r>
              <a:rPr lang="pl-PL" dirty="0"/>
              <a:t>. </a:t>
            </a:r>
            <a:r>
              <a:rPr lang="pl-PL" dirty="0" smtClean="0"/>
              <a:t>(zaokrąglenie w dół).</a:t>
            </a:r>
            <a:endParaRPr lang="pl-PL" dirty="0"/>
          </a:p>
          <a:p>
            <a:pPr marL="0" lvl="0" indent="0" algn="just">
              <a:buNone/>
            </a:pPr>
            <a:endParaRPr lang="pl-PL" dirty="0"/>
          </a:p>
          <a:p>
            <a:pPr marL="0" lvl="0" indent="0" algn="just">
              <a:buNone/>
            </a:pPr>
            <a:r>
              <a:rPr lang="pl-PL" dirty="0" smtClean="0"/>
              <a:t>Przykładowo:</a:t>
            </a:r>
          </a:p>
          <a:p>
            <a:pPr marL="0" lvl="0" indent="0" algn="just">
              <a:buNone/>
            </a:pPr>
            <a:endParaRPr lang="pl-PL" dirty="0" smtClean="0"/>
          </a:p>
          <a:p>
            <a:pPr marL="0" lvl="0" indent="0" algn="just">
              <a:buNone/>
            </a:pPr>
            <a:r>
              <a:rPr lang="pl-PL" dirty="0" smtClean="0"/>
              <a:t>jeżeli </a:t>
            </a:r>
            <a:r>
              <a:rPr lang="pl-PL" dirty="0"/>
              <a:t>budżet LSR 19.2 wynosi 6,65 mln zł to LGD, pomimo że 11% jego budżetu wynosi  731,5 tys. zł, może ubiegać się o </a:t>
            </a:r>
            <a:r>
              <a:rPr lang="pl-PL" dirty="0" smtClean="0"/>
              <a:t>730 </a:t>
            </a:r>
            <a:r>
              <a:rPr lang="pl-PL" dirty="0"/>
              <a:t>tys. z</a:t>
            </a:r>
            <a:r>
              <a:rPr lang="pl-PL" dirty="0" smtClean="0"/>
              <a:t>ł.</a:t>
            </a:r>
            <a:endParaRPr lang="pl-PL" dirty="0"/>
          </a:p>
          <a:p>
            <a:pPr marL="0" lvl="0" indent="0" algn="just">
              <a:spcBef>
                <a:spcPts val="3000"/>
              </a:spcBef>
              <a:buNone/>
            </a:pPr>
            <a:endParaRPr lang="pl-PL" b="1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737675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ZASADY PRZYZNAWANIA BONUSÓW</a:t>
            </a:r>
          </a:p>
        </p:txBody>
      </p:sp>
      <p:sp>
        <p:nvSpPr>
          <p:cNvPr id="2" name="Prostokąt 1"/>
          <p:cNvSpPr/>
          <p:nvPr/>
        </p:nvSpPr>
        <p:spPr>
          <a:xfrm>
            <a:off x="395536" y="908720"/>
            <a:ext cx="8424936" cy="5740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l-PL" dirty="0"/>
              <a:t>W toku oceny propozycji LGD, samorząd województwa może </a:t>
            </a:r>
            <a:r>
              <a:rPr lang="pl-PL" u="sng" dirty="0"/>
              <a:t>dwukrotnie</a:t>
            </a:r>
            <a:r>
              <a:rPr lang="pl-PL" dirty="0"/>
              <a:t> prosić LGD o </a:t>
            </a:r>
            <a:r>
              <a:rPr lang="pl-PL" u="sng" dirty="0"/>
              <a:t>dodatkowe informacje, wyjaśnienia, uzasadnienia przedstawionych propozycji</a:t>
            </a:r>
            <a:r>
              <a:rPr lang="pl-PL" dirty="0"/>
              <a:t>. Propozycja może ulegać modyfikacjom, również w zakresie wysokości środków, o jakie ubiega się LGD, z zastrzeżeniem zachowania zasady do 11% budżetu 19.2</a:t>
            </a:r>
            <a:r>
              <a:rPr lang="pl-PL" dirty="0" smtClean="0"/>
              <a:t>.</a:t>
            </a:r>
          </a:p>
          <a:p>
            <a:pPr lvl="0" algn="just"/>
            <a:endParaRPr lang="pl-PL" dirty="0" smtClean="0"/>
          </a:p>
          <a:p>
            <a:pPr marL="0" lvl="0" indent="0" algn="just">
              <a:buNone/>
            </a:pPr>
            <a:r>
              <a:rPr lang="pl-PL" dirty="0"/>
              <a:t>Samorząd województwa podczas oceny propozycji LGD ocenia: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/>
              <a:t>Czy proponowane podwyższenie budżetu LSR jest prawidłowej wysokości;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/>
              <a:t>Czy planowane operacje w ramach dodatkowych środków przeznaczone będą wyłącznie na rozwój przedsiębiorczości (pkt 2, 3 i 4 zakresu </a:t>
            </a:r>
            <a:br>
              <a:rPr lang="pl-PL" dirty="0"/>
            </a:br>
            <a:r>
              <a:rPr lang="pl-PL" dirty="0"/>
              <a:t>z rozporządzenia);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/>
              <a:t>Czy budżet i plan działania są w bezpośredni sposób powiązane </a:t>
            </a:r>
            <a:br>
              <a:rPr lang="pl-PL" dirty="0"/>
            </a:br>
            <a:r>
              <a:rPr lang="pl-PL" dirty="0"/>
              <a:t>z planowanymi dodatkowymi wskaźnikami do osiągnięcia;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/>
              <a:t>Czy planowane dodatkowe wskaźniki do osiągnięcia wpisują się </a:t>
            </a:r>
            <a:br>
              <a:rPr lang="pl-PL" dirty="0"/>
            </a:br>
            <a:r>
              <a:rPr lang="pl-PL" dirty="0"/>
              <a:t>w przedstawioną diagnozę obszaru;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pl-PL" dirty="0"/>
              <a:t>Czy proponowane wskaźniki prawidłowo przypisano do celów </a:t>
            </a:r>
            <a:br>
              <a:rPr lang="pl-PL" dirty="0"/>
            </a:br>
            <a:r>
              <a:rPr lang="pl-PL" dirty="0"/>
              <a:t>i przedsięwzięć.</a:t>
            </a:r>
          </a:p>
          <a:p>
            <a:pPr lvl="0" algn="just"/>
            <a:r>
              <a:rPr lang="pl-PL" dirty="0" smtClean="0"/>
              <a:t> </a:t>
            </a:r>
            <a:endParaRPr lang="pl-PL" dirty="0"/>
          </a:p>
          <a:p>
            <a:pPr marL="0" lvl="0" indent="0" algn="just">
              <a:spcBef>
                <a:spcPts val="3000"/>
              </a:spcBef>
              <a:buNone/>
            </a:pPr>
            <a:endParaRPr lang="pl-PL" b="1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830459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ZASADY PRZYZNAWANIA BONUSÓW</a:t>
            </a:r>
          </a:p>
        </p:txBody>
      </p:sp>
      <p:sp>
        <p:nvSpPr>
          <p:cNvPr id="2" name="Prostokąt 1"/>
          <p:cNvSpPr/>
          <p:nvPr/>
        </p:nvSpPr>
        <p:spPr>
          <a:xfrm>
            <a:off x="395536" y="908720"/>
            <a:ext cx="8424936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l-PL" dirty="0" smtClean="0"/>
              <a:t> </a:t>
            </a:r>
            <a:endParaRPr lang="pl-PL" dirty="0"/>
          </a:p>
          <a:p>
            <a:pPr marL="0" lvl="0" indent="0" algn="just">
              <a:spcBef>
                <a:spcPts val="3000"/>
              </a:spcBef>
              <a:buNone/>
            </a:pPr>
            <a:endParaRPr lang="pl-PL" b="1" i="1" dirty="0"/>
          </a:p>
        </p:txBody>
      </p:sp>
      <p:sp>
        <p:nvSpPr>
          <p:cNvPr id="4" name="Prostokąt 3"/>
          <p:cNvSpPr/>
          <p:nvPr/>
        </p:nvSpPr>
        <p:spPr>
          <a:xfrm>
            <a:off x="323528" y="889844"/>
            <a:ext cx="849694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l-PL" dirty="0"/>
              <a:t>Ocena propozycji LGD leży w wyłącznej kompetencji samorządu województwa</a:t>
            </a:r>
            <a:r>
              <a:rPr lang="pl-PL" dirty="0" smtClean="0"/>
              <a:t>.</a:t>
            </a:r>
          </a:p>
          <a:p>
            <a:pPr lvl="0" algn="just"/>
            <a:endParaRPr lang="pl-PL" dirty="0" smtClean="0"/>
          </a:p>
          <a:p>
            <a:pPr lvl="0" algn="just"/>
            <a:r>
              <a:rPr lang="pl-PL" dirty="0" smtClean="0"/>
              <a:t>Ewentualne </a:t>
            </a:r>
            <a:r>
              <a:rPr lang="pl-PL" dirty="0"/>
              <a:t>spory pomiędzy LGD a samorządem województwa związane z przyznaniem dodatkowych środków rozstrzygane są na drodze sądowej.</a:t>
            </a:r>
          </a:p>
          <a:p>
            <a:pPr lvl="0" algn="just"/>
            <a:endParaRPr lang="pl-PL" dirty="0" smtClean="0"/>
          </a:p>
          <a:p>
            <a:pPr lvl="0" algn="just"/>
            <a:r>
              <a:rPr lang="pl-PL" dirty="0" smtClean="0"/>
              <a:t>Po </a:t>
            </a:r>
            <a:r>
              <a:rPr lang="pl-PL" dirty="0"/>
              <a:t>ocenie propozycji LGD, samorząd województwa informuje LGD </a:t>
            </a:r>
            <a:br>
              <a:rPr lang="pl-PL" dirty="0"/>
            </a:br>
            <a:r>
              <a:rPr lang="pl-PL" dirty="0"/>
              <a:t>o możliwości podpisania aneksów do umów ramowych, które należy podpisać w terminie </a:t>
            </a:r>
            <a:r>
              <a:rPr lang="pl-PL" b="1" u="sng" dirty="0"/>
              <a:t>do dnia 30 czerwca 2019 r.</a:t>
            </a:r>
          </a:p>
          <a:p>
            <a:pPr marL="0" lvl="0" indent="0" algn="just">
              <a:buNone/>
            </a:pPr>
            <a:endParaRPr lang="pl-PL" dirty="0"/>
          </a:p>
          <a:p>
            <a:pPr marL="0" lvl="0" indent="0" algn="just">
              <a:buNone/>
            </a:pPr>
            <a:r>
              <a:rPr lang="pl-PL" dirty="0"/>
              <a:t>Samorząd województwa po podpisaniu wszystkich aneksów informuje </a:t>
            </a:r>
            <a:r>
              <a:rPr lang="pl-PL" dirty="0" err="1"/>
              <a:t>MRiRW</a:t>
            </a:r>
            <a:r>
              <a:rPr lang="pl-PL" dirty="0"/>
              <a:t>, o wysokości kwot, o jakie poszczególne budżety LSR zostały danymi aneksami podwyższone oraz o wysokości kwot, o jaką każda LGD pierwotnie wnioskowała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132979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rgbClr val="FFFFFF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Dziękuję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14135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DRUGI ANEKS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>
                <a:solidFill>
                  <a:srgbClr val="000000"/>
                </a:solidFill>
              </a:rPr>
              <a:t>Jeżeli do 31 grudnia 2018 roku LGD:</a:t>
            </a:r>
            <a:endParaRPr lang="pl-PL" sz="2000" b="1" dirty="0">
              <a:solidFill>
                <a:srgbClr val="000000"/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>
                <a:solidFill>
                  <a:srgbClr val="000000"/>
                </a:solidFill>
              </a:rPr>
              <a:t>osiągnie poziom co najmniej 60% każdego ze wskaźników produktu, który został przewidziany do realizacji w latach 2016 – </a:t>
            </a:r>
            <a:r>
              <a:rPr lang="pl-PL" dirty="0" smtClean="0">
                <a:solidFill>
                  <a:srgbClr val="000000"/>
                </a:solidFill>
              </a:rPr>
              <a:t>2018,</a:t>
            </a:r>
            <a:endParaRPr lang="pl-PL" sz="2000" b="1" dirty="0">
              <a:solidFill>
                <a:srgbClr val="000000"/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>
                <a:solidFill>
                  <a:srgbClr val="000000"/>
                </a:solidFill>
              </a:rPr>
              <a:t>wykorzysta co najmniej 80% środków finansowych przeznaczonych na wsparcie realizacji operacji w ramach LSR w latach 2016-2018, a w przypadku, gdy LSR przewiduje finansowanie w ramach PROW, </a:t>
            </a:r>
            <a:r>
              <a:rPr lang="pl-PL" dirty="0" smtClean="0">
                <a:solidFill>
                  <a:srgbClr val="000000"/>
                </a:solidFill>
              </a:rPr>
              <a:t>dodatkowo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 smtClean="0">
                <a:solidFill>
                  <a:srgbClr val="000000"/>
                </a:solidFill>
              </a:rPr>
              <a:t>wykorzysta </a:t>
            </a:r>
            <a:r>
              <a:rPr lang="pl-PL" dirty="0">
                <a:solidFill>
                  <a:srgbClr val="000000"/>
                </a:solidFill>
              </a:rPr>
              <a:t>40% środków finansowych przeznaczonych na utworzenie/utrzymanie miejsc pracy w ramach LSR,</a:t>
            </a:r>
            <a:endParaRPr lang="pl-PL" sz="2000" b="1" dirty="0">
              <a:solidFill>
                <a:srgbClr val="000000"/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u="sng" dirty="0">
                <a:solidFill>
                  <a:srgbClr val="000000"/>
                </a:solidFill>
              </a:rPr>
              <a:t>realizuje zobowiązania określone w niniejszej umowie </a:t>
            </a:r>
            <a:endParaRPr lang="pl-PL" sz="2000" b="1" u="sng" dirty="0">
              <a:solidFill>
                <a:srgbClr val="000000"/>
              </a:solidFill>
            </a:endParaRPr>
          </a:p>
          <a:p>
            <a:pPr marL="285750" indent="-285750" algn="just">
              <a:buFontTx/>
              <a:buChar char="-"/>
            </a:pPr>
            <a:r>
              <a:rPr lang="pl-PL" dirty="0" smtClean="0">
                <a:solidFill>
                  <a:srgbClr val="000000"/>
                </a:solidFill>
              </a:rPr>
              <a:t>kwota </a:t>
            </a:r>
            <a:r>
              <a:rPr lang="pl-PL" dirty="0">
                <a:solidFill>
                  <a:srgbClr val="000000"/>
                </a:solidFill>
              </a:rPr>
              <a:t>określona w § 4 ust. 1 umowy w ramach danego </a:t>
            </a:r>
            <a:r>
              <a:rPr lang="pl-PL" dirty="0" smtClean="0">
                <a:solidFill>
                  <a:srgbClr val="000000"/>
                </a:solidFill>
              </a:rPr>
              <a:t>funduszu może </a:t>
            </a:r>
            <a:r>
              <a:rPr lang="pl-PL" dirty="0">
                <a:solidFill>
                  <a:srgbClr val="000000"/>
                </a:solidFill>
              </a:rPr>
              <a:t>zostać podwyższona maksymalnie o kwotę stanowiącą </a:t>
            </a:r>
            <a:r>
              <a:rPr lang="pl-PL" dirty="0" smtClean="0">
                <a:solidFill>
                  <a:srgbClr val="000000"/>
                </a:solidFill>
              </a:rPr>
              <a:t>60</a:t>
            </a:r>
            <a:r>
              <a:rPr lang="pl-PL" dirty="0">
                <a:solidFill>
                  <a:srgbClr val="000000"/>
                </a:solidFill>
              </a:rPr>
              <a:t>% kwoty środków, o których mowa w § 4 ust. 1 umowy, o ile dostępne są środki finansowe w ramach danego programu – proporcjonalnie do potrzeb zgłoszonych przez LGD</a:t>
            </a:r>
            <a:r>
              <a:rPr lang="pl-PL" dirty="0" smtClean="0">
                <a:solidFill>
                  <a:srgbClr val="000000"/>
                </a:solidFill>
              </a:rPr>
              <a:t>.</a:t>
            </a:r>
          </a:p>
          <a:p>
            <a:pPr marL="0" lvl="2" algn="just"/>
            <a:endParaRPr lang="pl-PL" dirty="0" smtClean="0">
              <a:solidFill>
                <a:srgbClr val="000000"/>
              </a:solidFill>
            </a:endParaRPr>
          </a:p>
          <a:p>
            <a:pPr marL="0" lvl="2" algn="just"/>
            <a:r>
              <a:rPr lang="pl-PL" dirty="0">
                <a:solidFill>
                  <a:srgbClr val="000000"/>
                </a:solidFill>
              </a:rPr>
              <a:t>Metodologia podwyższenia kwoty środków w ramach danego funduszu zostanie ustalona przez Instytucję Zarządzającą</a:t>
            </a:r>
            <a:endParaRPr lang="pl-PL" sz="2000" dirty="0">
              <a:solidFill>
                <a:srgbClr val="000000"/>
              </a:solidFill>
            </a:endParaRPr>
          </a:p>
        </p:txBody>
      </p:sp>
      <p:sp>
        <p:nvSpPr>
          <p:cNvPr id="7" name="pole tekstowe 6"/>
          <p:cNvSpPr txBox="1"/>
          <p:nvPr/>
        </p:nvSpPr>
        <p:spPr>
          <a:xfrm rot="1994818">
            <a:off x="7483118" y="659011"/>
            <a:ext cx="15233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 smtClean="0">
                <a:solidFill>
                  <a:srgbClr val="000000"/>
                </a:solidFill>
              </a:rPr>
              <a:t>UMOWY</a:t>
            </a:r>
            <a:endParaRPr lang="pl-PL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440006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az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OSIĄGNIĘCIE KAMIENIA MILOWEGO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2843804" y="862147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3" name="Prostokąt 12"/>
          <p:cNvSpPr/>
          <p:nvPr/>
        </p:nvSpPr>
        <p:spPr>
          <a:xfrm>
            <a:off x="6294751" y="862147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0" name="Prostokąt 19"/>
          <p:cNvSpPr/>
          <p:nvPr/>
        </p:nvSpPr>
        <p:spPr>
          <a:xfrm>
            <a:off x="2843804" y="2727207"/>
            <a:ext cx="4608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1" name="Prostokąt 20"/>
          <p:cNvSpPr/>
          <p:nvPr/>
        </p:nvSpPr>
        <p:spPr>
          <a:xfrm>
            <a:off x="7451804" y="2727207"/>
            <a:ext cx="1152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2" name="Prostokąt 21"/>
          <p:cNvSpPr/>
          <p:nvPr/>
        </p:nvSpPr>
        <p:spPr>
          <a:xfrm>
            <a:off x="2843804" y="3933056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3" name="Prostokąt 22"/>
          <p:cNvSpPr/>
          <p:nvPr/>
        </p:nvSpPr>
        <p:spPr>
          <a:xfrm>
            <a:off x="5142751" y="3933056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5" name="Prostokąt 24"/>
          <p:cNvSpPr/>
          <p:nvPr/>
        </p:nvSpPr>
        <p:spPr>
          <a:xfrm>
            <a:off x="2838751" y="1186183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6" name="Prostokąt 25"/>
          <p:cNvSpPr/>
          <p:nvPr/>
        </p:nvSpPr>
        <p:spPr>
          <a:xfrm>
            <a:off x="6294751" y="1188388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7" name="Prostokąt 26"/>
          <p:cNvSpPr/>
          <p:nvPr/>
        </p:nvSpPr>
        <p:spPr>
          <a:xfrm>
            <a:off x="2838751" y="1510219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8" name="Prostokąt 27"/>
          <p:cNvSpPr/>
          <p:nvPr/>
        </p:nvSpPr>
        <p:spPr>
          <a:xfrm>
            <a:off x="6299804" y="1510219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2" name="pole tekstowe 1"/>
          <p:cNvSpPr txBox="1"/>
          <p:nvPr/>
        </p:nvSpPr>
        <p:spPr>
          <a:xfrm>
            <a:off x="303200" y="843677"/>
            <a:ext cx="856757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 1:                                                                  60%</a:t>
            </a: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 2:                                                                  60%</a:t>
            </a: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Wskaźnik n:                                                                  60%</a:t>
            </a: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>
              <a:solidFill>
                <a:srgbClr val="000000"/>
              </a:solidFill>
            </a:endParaRP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Budżet 2018:                                                                                 80%</a:t>
            </a: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endParaRPr lang="pl-PL" sz="2000" dirty="0">
              <a:solidFill>
                <a:srgbClr val="000000"/>
              </a:solidFill>
            </a:endParaRP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Miejsca pracy </a:t>
            </a:r>
            <a:r>
              <a:rPr lang="pl-PL" sz="2000" b="1" u="sng" dirty="0" smtClean="0">
                <a:solidFill>
                  <a:srgbClr val="000000"/>
                </a:solidFill>
              </a:rPr>
              <a:t>ALL</a:t>
            </a:r>
            <a:r>
              <a:rPr lang="pl-PL" sz="2000" dirty="0" smtClean="0">
                <a:solidFill>
                  <a:srgbClr val="000000"/>
                </a:solidFill>
              </a:rPr>
              <a:t>:                                      40%</a:t>
            </a:r>
          </a:p>
          <a:p>
            <a:pPr algn="just"/>
            <a:endParaRPr lang="pl-PL" sz="2000" dirty="0">
              <a:solidFill>
                <a:srgbClr val="000000"/>
              </a:solidFill>
            </a:endParaRPr>
          </a:p>
          <a:p>
            <a:pPr algn="just"/>
            <a:endParaRPr lang="pl-PL" sz="2000" dirty="0" smtClean="0">
              <a:solidFill>
                <a:srgbClr val="000000"/>
              </a:solidFill>
            </a:endParaRPr>
          </a:p>
          <a:p>
            <a:pPr algn="just"/>
            <a:r>
              <a:rPr lang="pl-PL" sz="2000" dirty="0" smtClean="0">
                <a:solidFill>
                  <a:srgbClr val="000000"/>
                </a:solidFill>
              </a:rPr>
              <a:t>Zobowiązania określone w umowie ramowej!</a:t>
            </a:r>
          </a:p>
          <a:p>
            <a:pPr algn="just"/>
            <a:endParaRPr lang="pl-PL" sz="2000" b="1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256890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246985"/>
              </p:ext>
            </p:extLst>
          </p:nvPr>
        </p:nvGraphicFramePr>
        <p:xfrm>
          <a:off x="324896" y="843674"/>
          <a:ext cx="8447280" cy="47895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15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57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1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5219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GD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iczba wskaźników z LSR</a:t>
                      </a:r>
                      <a:r>
                        <a:rPr lang="pl-PL" sz="11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iczba wskaźników osiągniętych w 60%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390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ili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rosn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uk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Ster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y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Grabi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1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Jeziorsk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Buduj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owicz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Rawk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odkow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ieluń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Gniazd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Mrog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ol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ęczy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1 - WSKAŹNIK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408453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795712"/>
              </p:ext>
            </p:extLst>
          </p:nvPr>
        </p:nvGraphicFramePr>
        <p:xfrm>
          <a:off x="324894" y="843674"/>
          <a:ext cx="8447282" cy="47895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236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36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5219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GD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ykorzystanie budżetu planowanego do 2018 roku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390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rosn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5,3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ili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5,5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Gniazd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8,6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owicz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2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Grabi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1,6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Rawk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3,9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odkow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9,3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uk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6,8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Buduj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5,9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5,9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Ster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5,4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Jeziorsk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,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y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4,5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Mrog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4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ieluń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,1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ol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,7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ęczy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2 – BUDŻET 2018</a:t>
            </a:r>
          </a:p>
        </p:txBody>
      </p:sp>
      <p:sp>
        <p:nvSpPr>
          <p:cNvPr id="16" name="Prostokąt 15"/>
          <p:cNvSpPr/>
          <p:nvPr/>
        </p:nvSpPr>
        <p:spPr>
          <a:xfrm>
            <a:off x="1050913" y="4115162"/>
            <a:ext cx="926459" cy="3417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220677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66392"/>
              </p:ext>
            </p:extLst>
          </p:nvPr>
        </p:nvGraphicFramePr>
        <p:xfrm>
          <a:off x="324894" y="843674"/>
          <a:ext cx="8447282" cy="4831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236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36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5219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LGD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ykorzystanie budżetu planowanego na miejsca pracy do 2023 roku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390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ry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9,9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rosn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4,1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Grabi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7,6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Rawk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5,5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Mrog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5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0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Wieluń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,0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odkow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7,1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Jeziorsk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4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Buduj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,2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Ster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9,3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owicz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4,0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uk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7,7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Gniazdo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,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Pili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,7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err="1" smtClean="0">
                          <a:latin typeface="Arial" pitchFamily="34" charset="0"/>
                          <a:cs typeface="Arial" pitchFamily="34" charset="0"/>
                        </a:rPr>
                        <a:t>Polcentrum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,3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883"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latin typeface="Arial" pitchFamily="34" charset="0"/>
                          <a:cs typeface="Arial" pitchFamily="34" charset="0"/>
                        </a:rPr>
                        <a:t>Łęczyca</a:t>
                      </a:r>
                      <a:endParaRPr lang="pl-PL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3 – BUDŻET NA MIEJSCA PRACY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803478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LGD, KTÓRE SPEŁNIŁY TRZY WARUNKI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l-PL" dirty="0" smtClean="0">
              <a:solidFill>
                <a:srgbClr val="000000"/>
              </a:solidFill>
            </a:endParaRPr>
          </a:p>
          <a:p>
            <a:pPr algn="ctr"/>
            <a:r>
              <a:rPr lang="pl-PL" smtClean="0">
                <a:solidFill>
                  <a:srgbClr val="000000"/>
                </a:solidFill>
              </a:rPr>
              <a:t>„Między Prosną a Wartą" - Lokalna Grupa Działania</a:t>
            </a: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r>
              <a:rPr lang="pl-PL" smtClean="0">
                <a:solidFill>
                  <a:srgbClr val="000000"/>
                </a:solidFill>
              </a:rPr>
              <a:t>Lokalna Grupa Działania „Kraina Wielkiego Łuku Warty”</a:t>
            </a: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r>
              <a:rPr lang="pl-PL" smtClean="0">
                <a:solidFill>
                  <a:srgbClr val="000000"/>
                </a:solidFill>
              </a:rPr>
              <a:t>Stowarzyszenie Rozwoju Gmin „CENTRUM”</a:t>
            </a: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r>
              <a:rPr lang="pl-PL" smtClean="0">
                <a:solidFill>
                  <a:srgbClr val="000000"/>
                </a:solidFill>
              </a:rPr>
              <a:t>Lokalna Grupa Działania „PRYM”</a:t>
            </a: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endParaRPr lang="pl-PL" smtClean="0">
              <a:solidFill>
                <a:srgbClr val="000000"/>
              </a:solidFill>
            </a:endParaRPr>
          </a:p>
          <a:p>
            <a:pPr algn="ctr"/>
            <a:r>
              <a:rPr lang="pl-PL" smtClean="0">
                <a:solidFill>
                  <a:srgbClr val="000000"/>
                </a:solidFill>
              </a:rPr>
              <a:t>Lokalna Grupa Działania „Dolina rzeki Grabi"</a:t>
            </a:r>
            <a:endParaRPr lang="pl-PL" sz="20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777862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WARUNEK 4 – ZOBOWIĄZANIA Z UMOWY RAMOWEJ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 smtClean="0"/>
              <a:t>Zobowiązania </a:t>
            </a:r>
            <a:r>
              <a:rPr lang="pl-PL" dirty="0"/>
              <a:t>LGD określone są w §5 umowy ramowej. Zasady </a:t>
            </a:r>
            <a:r>
              <a:rPr lang="pl-PL" dirty="0" smtClean="0"/>
              <a:t>realizacji zobowiązań </a:t>
            </a:r>
            <a:r>
              <a:rPr lang="pl-PL" dirty="0"/>
              <a:t>z punktu widzenia bonusów określone są w §8a umowy ramowej</a:t>
            </a:r>
            <a:r>
              <a:rPr lang="pl-PL" dirty="0" smtClean="0"/>
              <a:t>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467543" y="1499136"/>
            <a:ext cx="8304633" cy="138499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sz="1200" b="1" dirty="0" smtClean="0"/>
              <a:t>§</a:t>
            </a:r>
            <a:r>
              <a:rPr lang="pl-PL" sz="1200" b="1" dirty="0"/>
              <a:t>8a ust. 5 umowy ramowej</a:t>
            </a:r>
            <a:r>
              <a:rPr lang="pl-PL" sz="1200" b="1" dirty="0" smtClean="0"/>
              <a:t>:</a:t>
            </a:r>
            <a:endParaRPr lang="pl-PL" sz="1200" b="1" dirty="0"/>
          </a:p>
          <a:p>
            <a:pPr algn="just"/>
            <a:r>
              <a:rPr lang="pl-PL" sz="1200" i="1" dirty="0"/>
              <a:t>Uznaje się, że LGD realizuje zobowiązanie, o którym mowa </a:t>
            </a:r>
            <a:r>
              <a:rPr lang="pl-PL" sz="1200" i="1" dirty="0" smtClean="0"/>
              <a:t>w §5 </a:t>
            </a:r>
            <a:r>
              <a:rPr lang="pl-PL" sz="1200" i="1" dirty="0"/>
              <a:t>ust. 1 pkt 10 w zakresie prawidłowego przeprowadzania postępowania w sprawie wyboru operacji realizujących cele LSR, jeżeli wnioskodawcom objętym danym postępowaniem nie odmówiono udzielenia wsparcia ze względu na stwierdzone przez Zarząd Województwa uchybienia, </a:t>
            </a:r>
            <a:r>
              <a:rPr lang="pl-PL" sz="1200" b="1" i="1" dirty="0"/>
              <a:t>stanowiące o braku zgodności z  przynajmniej jednym z wymogów</a:t>
            </a:r>
            <a:r>
              <a:rPr lang="pl-PL" sz="1200" i="1" dirty="0"/>
              <a:t>, o których mowa w art. 17 ust. 1 pkt 1 i ust. 2 ustawy RLKS, a w przypadku stwierdzenia innych uchybień – jeżeli spełnione są warunki, o których mowa w ust. 2 pkt 1 i 2</a:t>
            </a:r>
            <a:r>
              <a:rPr lang="pl-PL" sz="1200" i="1" dirty="0" smtClean="0"/>
              <a:t>.</a:t>
            </a:r>
            <a:endParaRPr lang="pl-PL" sz="1200" dirty="0"/>
          </a:p>
        </p:txBody>
      </p:sp>
      <p:sp>
        <p:nvSpPr>
          <p:cNvPr id="5" name="pole tekstowe 4"/>
          <p:cNvSpPr txBox="1"/>
          <p:nvPr/>
        </p:nvSpPr>
        <p:spPr>
          <a:xfrm>
            <a:off x="475993" y="2974926"/>
            <a:ext cx="3397598" cy="17543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lvl="3" algn="ctr"/>
            <a:r>
              <a:rPr lang="pl-PL" sz="1200" b="1" dirty="0"/>
              <a:t>§5 ust. 1 pkt 10 </a:t>
            </a:r>
            <a:r>
              <a:rPr lang="pl-PL" sz="1200" b="1" dirty="0" smtClean="0"/>
              <a:t>umowy ramowej:</a:t>
            </a:r>
          </a:p>
          <a:p>
            <a:pPr marL="0" lvl="3" algn="just"/>
            <a:r>
              <a:rPr lang="pl-PL" sz="1200" dirty="0" smtClean="0"/>
              <a:t>LGD zobowiązuje się do:</a:t>
            </a:r>
          </a:p>
          <a:p>
            <a:pPr marL="0" lvl="3" algn="just"/>
            <a:r>
              <a:rPr lang="pl-PL" sz="1200" dirty="0" smtClean="0"/>
              <a:t>terminowego </a:t>
            </a:r>
            <a:r>
              <a:rPr lang="pl-PL" sz="1200" dirty="0"/>
              <a:t>oraz prawidłowego przeprowadzania postępowania w sprawie wyboru operacji realizujących cele LSR, zgodnie z art. 21 – 23 ustawy RLKS, w tym dokonywania </a:t>
            </a:r>
            <a:r>
              <a:rPr lang="pl-PL" sz="1200" b="1" dirty="0"/>
              <a:t>wyboru operacji </a:t>
            </a:r>
            <a:r>
              <a:rPr lang="pl-PL" sz="1200" dirty="0"/>
              <a:t>lub </a:t>
            </a:r>
            <a:r>
              <a:rPr lang="pl-PL" sz="1200" dirty="0" err="1" smtClean="0"/>
              <a:t>grantobiorców</a:t>
            </a:r>
            <a:r>
              <a:rPr lang="pl-PL" sz="1200" dirty="0" smtClean="0"/>
              <a:t>, </a:t>
            </a:r>
            <a:r>
              <a:rPr lang="pl-PL" sz="1200" b="1" dirty="0"/>
              <a:t>zgodnie z wymogami </a:t>
            </a:r>
            <a:r>
              <a:rPr lang="pl-PL" sz="1200" dirty="0"/>
              <a:t>określonymi w art. 17 ust. 2 ustawy RLKS</a:t>
            </a:r>
            <a:r>
              <a:rPr lang="pl-PL" sz="1200" dirty="0" smtClean="0"/>
              <a:t>;</a:t>
            </a:r>
            <a:endParaRPr lang="pl-PL" sz="1200" dirty="0"/>
          </a:p>
        </p:txBody>
      </p:sp>
      <p:sp>
        <p:nvSpPr>
          <p:cNvPr id="9" name="pole tekstowe 8"/>
          <p:cNvSpPr txBox="1"/>
          <p:nvPr/>
        </p:nvSpPr>
        <p:spPr>
          <a:xfrm>
            <a:off x="4211960" y="3004210"/>
            <a:ext cx="4547604" cy="267765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lvl="3" algn="ctr"/>
            <a:r>
              <a:rPr lang="pl-PL" sz="1200" b="1" dirty="0" smtClean="0"/>
              <a:t>Art. 17 ust 1 pkt 1 i 2 Ustawy RLKS:</a:t>
            </a:r>
          </a:p>
          <a:p>
            <a:pPr marL="0" lvl="3" algn="just"/>
            <a:r>
              <a:rPr lang="pl-PL" sz="1200" dirty="0"/>
              <a:t>Wsparcie, o którym mowa w art. 35 ust. 1 lit. b rozporządzenia nr 1303/2013, nie przysługuje, jeżeli podczas dokonywania wyboru </a:t>
            </a:r>
            <a:r>
              <a:rPr lang="pl-PL" sz="1200" dirty="0" smtClean="0"/>
              <a:t>operacji:</a:t>
            </a:r>
          </a:p>
          <a:p>
            <a:pPr marL="228600" lvl="3" indent="-228600" algn="just">
              <a:buAutoNum type="arabicParenR"/>
            </a:pPr>
            <a:r>
              <a:rPr lang="pl-PL" sz="1200" dirty="0" smtClean="0"/>
              <a:t>nie </a:t>
            </a:r>
            <a:r>
              <a:rPr lang="pl-PL" sz="1200" dirty="0"/>
              <a:t>zastosowano określonych w LSR: </a:t>
            </a:r>
            <a:endParaRPr lang="pl-PL" sz="1200" dirty="0" smtClean="0"/>
          </a:p>
          <a:p>
            <a:pPr marL="0" lvl="3" algn="just"/>
            <a:r>
              <a:rPr lang="pl-PL" sz="1200" dirty="0"/>
              <a:t>	</a:t>
            </a:r>
            <a:r>
              <a:rPr lang="pl-PL" sz="1200" dirty="0" smtClean="0"/>
              <a:t>a</a:t>
            </a:r>
            <a:r>
              <a:rPr lang="pl-PL" sz="1200" dirty="0"/>
              <a:t>) procedury zapewniającej bezstronność </a:t>
            </a:r>
            <a:r>
              <a:rPr lang="pl-PL" sz="1200" dirty="0" smtClean="0"/>
              <a:t>	członków </a:t>
            </a:r>
            <a:r>
              <a:rPr lang="pl-PL" sz="1200" dirty="0"/>
              <a:t>rady </a:t>
            </a:r>
            <a:r>
              <a:rPr lang="pl-PL" sz="1200" dirty="0" smtClean="0"/>
              <a:t>lub</a:t>
            </a:r>
          </a:p>
          <a:p>
            <a:pPr marL="0" lvl="3" algn="just"/>
            <a:r>
              <a:rPr lang="pl-PL" sz="1200" dirty="0"/>
              <a:t>	</a:t>
            </a:r>
            <a:r>
              <a:rPr lang="pl-PL" sz="1200" dirty="0" smtClean="0"/>
              <a:t>b</a:t>
            </a:r>
            <a:r>
              <a:rPr lang="pl-PL" sz="1200" dirty="0"/>
              <a:t>) kryteriów wyboru operacji, </a:t>
            </a:r>
            <a:r>
              <a:rPr lang="pl-PL" sz="1200" dirty="0" smtClean="0"/>
              <a:t>lub</a:t>
            </a:r>
          </a:p>
          <a:p>
            <a:pPr marL="0" lvl="3" algn="just"/>
            <a:r>
              <a:rPr lang="pl-PL" sz="1200" dirty="0" smtClean="0"/>
              <a:t>2</a:t>
            </a:r>
            <a:r>
              <a:rPr lang="pl-PL" sz="1200" dirty="0"/>
              <a:t>) nie </a:t>
            </a:r>
            <a:r>
              <a:rPr lang="pl-PL" sz="1200" dirty="0" smtClean="0"/>
              <a:t>zachowano:</a:t>
            </a:r>
          </a:p>
          <a:p>
            <a:pPr marL="0" lvl="3" algn="just"/>
            <a:r>
              <a:rPr lang="pl-PL" sz="1200" dirty="0"/>
              <a:t>	</a:t>
            </a:r>
            <a:r>
              <a:rPr lang="pl-PL" sz="1200" dirty="0" smtClean="0"/>
              <a:t>a</a:t>
            </a:r>
            <a:r>
              <a:rPr lang="pl-PL" sz="1200" dirty="0"/>
              <a:t>) składu rady zgodnego z wymaganiami </a:t>
            </a:r>
            <a:r>
              <a:rPr lang="pl-PL" sz="1200" dirty="0" smtClean="0"/>
              <a:t>	określonymi </a:t>
            </a:r>
            <a:r>
              <a:rPr lang="pl-PL" sz="1200" dirty="0"/>
              <a:t>w art. 32 ust. 2 lit. b rozporządzenia nr </a:t>
            </a:r>
            <a:r>
              <a:rPr lang="pl-PL" sz="1200" dirty="0" smtClean="0"/>
              <a:t>	1303/2013</a:t>
            </a:r>
            <a:r>
              <a:rPr lang="pl-PL" sz="1200" dirty="0"/>
              <a:t>, </a:t>
            </a:r>
            <a:r>
              <a:rPr lang="pl-PL" sz="1200" dirty="0" smtClean="0"/>
              <a:t>lub</a:t>
            </a:r>
          </a:p>
          <a:p>
            <a:pPr marL="0" lvl="3" algn="just"/>
            <a:r>
              <a:rPr lang="pl-PL" sz="1200" dirty="0"/>
              <a:t>	</a:t>
            </a:r>
            <a:r>
              <a:rPr lang="pl-PL" sz="1200" dirty="0" smtClean="0"/>
              <a:t>b</a:t>
            </a:r>
            <a:r>
              <a:rPr lang="pl-PL" sz="1200" dirty="0"/>
              <a:t>) parytetu określonego w art. 34 ust. 3 lit. b </a:t>
            </a:r>
            <a:r>
              <a:rPr lang="pl-PL" sz="1200" dirty="0" smtClean="0"/>
              <a:t>	rozporządzenia </a:t>
            </a:r>
            <a:r>
              <a:rPr lang="pl-PL" sz="1200" dirty="0"/>
              <a:t>nr 1303/2013.</a:t>
            </a:r>
          </a:p>
        </p:txBody>
      </p:sp>
      <p:sp>
        <p:nvSpPr>
          <p:cNvPr id="10" name="pole tekstowe 9"/>
          <p:cNvSpPr txBox="1"/>
          <p:nvPr/>
        </p:nvSpPr>
        <p:spPr>
          <a:xfrm>
            <a:off x="461827" y="4850869"/>
            <a:ext cx="3397598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lvl="3" algn="ctr"/>
            <a:r>
              <a:rPr lang="pl-PL" sz="1200" b="1" dirty="0" smtClean="0"/>
              <a:t>Art. 34 ust. 3 lit. b </a:t>
            </a:r>
            <a:r>
              <a:rPr lang="pl-PL" sz="1200" b="1" dirty="0" err="1" smtClean="0"/>
              <a:t>rozp</a:t>
            </a:r>
            <a:r>
              <a:rPr lang="pl-PL" sz="1200" b="1" dirty="0" smtClean="0"/>
              <a:t>. 1303/2013::</a:t>
            </a:r>
          </a:p>
          <a:p>
            <a:pPr marL="0" lvl="3" algn="just"/>
            <a:r>
              <a:rPr lang="pl-PL" sz="1200" dirty="0"/>
              <a:t>co najmniej 50 % głosów w decyzjach dotyczących wyboru pochodzi od partnerów niebędących instytucjami publicznymi</a:t>
            </a:r>
          </a:p>
        </p:txBody>
      </p:sp>
      <p:cxnSp>
        <p:nvCxnSpPr>
          <p:cNvPr id="8" name="Łącznik prosty ze strzałką 7"/>
          <p:cNvCxnSpPr>
            <a:endCxn id="5" idx="0"/>
          </p:cNvCxnSpPr>
          <p:nvPr/>
        </p:nvCxnSpPr>
        <p:spPr>
          <a:xfrm flipH="1">
            <a:off x="2174792" y="1844824"/>
            <a:ext cx="3333312" cy="11301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/>
          <p:cNvCxnSpPr>
            <a:endCxn id="9" idx="0"/>
          </p:cNvCxnSpPr>
          <p:nvPr/>
        </p:nvCxnSpPr>
        <p:spPr>
          <a:xfrm flipH="1">
            <a:off x="6485762" y="2409875"/>
            <a:ext cx="1366729" cy="59433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ze strzałką 16"/>
          <p:cNvCxnSpPr>
            <a:endCxn id="9" idx="1"/>
          </p:cNvCxnSpPr>
          <p:nvPr/>
        </p:nvCxnSpPr>
        <p:spPr>
          <a:xfrm flipV="1">
            <a:off x="1835696" y="4343038"/>
            <a:ext cx="2376264" cy="2380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ze strzałką 18"/>
          <p:cNvCxnSpPr>
            <a:endCxn id="10" idx="3"/>
          </p:cNvCxnSpPr>
          <p:nvPr/>
        </p:nvCxnSpPr>
        <p:spPr>
          <a:xfrm flipH="1" flipV="1">
            <a:off x="3859425" y="5266368"/>
            <a:ext cx="1504663" cy="1068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4679429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BRAK SPEŁNIENIA CZWARTEGO WARUNKU – PISMO OD SWŁ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980728"/>
            <a:ext cx="7143750" cy="460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198100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28</TotalTime>
  <Words>1927</Words>
  <Application>Microsoft Office PowerPoint</Application>
  <PresentationFormat>Pokaz na ekranie (4:3)</PresentationFormat>
  <Paragraphs>306</Paragraphs>
  <Slides>18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44</vt:i4>
      </vt:variant>
      <vt:variant>
        <vt:lpstr>Tytuły slajdów</vt:lpstr>
      </vt:variant>
      <vt:variant>
        <vt:i4>18</vt:i4>
      </vt:variant>
    </vt:vector>
  </HeadingPairs>
  <TitlesOfParts>
    <vt:vector size="68" baseType="lpstr">
      <vt:lpstr>Arial</vt:lpstr>
      <vt:lpstr>Calibri</vt:lpstr>
      <vt:lpstr>Gabriola</vt:lpstr>
      <vt:lpstr>Segoe UI</vt:lpstr>
      <vt:lpstr>Tahoma</vt:lpstr>
      <vt:lpstr>Tw Cen MT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7_zielony</vt:lpstr>
      <vt:lpstr>28_czerwony</vt:lpstr>
      <vt:lpstr>Projekt domyślny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ichał Kosmowski</cp:lastModifiedBy>
  <cp:revision>402</cp:revision>
  <cp:lastPrinted>2018-05-18T10:44:48Z</cp:lastPrinted>
  <dcterms:created xsi:type="dcterms:W3CDTF">2013-04-03T19:48:29Z</dcterms:created>
  <dcterms:modified xsi:type="dcterms:W3CDTF">2019-03-27T08:02:12Z</dcterms:modified>
</cp:coreProperties>
</file>